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1788" r:id="rId2"/>
    <p:sldId id="374" r:id="rId3"/>
    <p:sldId id="712" r:id="rId4"/>
    <p:sldId id="455" r:id="rId5"/>
    <p:sldId id="1789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A5A5"/>
    <a:srgbClr val="61E992"/>
    <a:srgbClr val="1ED760"/>
    <a:srgbClr val="89EFAD"/>
    <a:srgbClr val="CFF9DE"/>
    <a:srgbClr val="06A254"/>
    <a:srgbClr val="80B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38" d="100"/>
          <a:sy n="38" d="100"/>
        </p:scale>
        <p:origin x="1764" y="58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7345C8-E845-4577-B0D5-17E7C6889CF0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8D0604-D663-4F5F-966A-9930888BC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219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000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837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337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747D15-45B0-4D0E-99E3-A077DE9CAE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9DC63F-B5E4-42A2-BFE9-86E467F27B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DAB36-4004-42A8-9215-DFBB67531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A46A45-8E42-4963-8D8B-4D20E7FEC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97F90B-16BB-422E-87EB-C11158C5DB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041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83A77-A86B-47BF-85FB-2335B7FF9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0FB5FF6-CDBF-450A-B809-A246C259D3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2A464-FF29-4636-ABEA-AA4028CEE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8780AD-988A-43B3-8E6F-4F8A375BC2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7CE109-16D8-477E-BD46-D4FF6E34D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359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0BCDC58-9164-4F2F-AE14-6DD5EDFCE8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B7EFDF-9804-424A-B6AE-6B91A487B9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A5966-E4FC-4663-9237-B9A78F0B8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9536B6-1CB4-47B8-A681-C2BD0126B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216958-A1A7-40C6-9794-660B5DA37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550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34615100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43D79AC9-1E87-42AE-9FDF-AFDA9D38FB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51578" y="806196"/>
            <a:ext cx="6651205" cy="54041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4E2217-FB9D-46E1-B253-D5F898054EF8}"/>
              </a:ext>
            </a:extLst>
          </p:cNvPr>
          <p:cNvGrpSpPr/>
          <p:nvPr userDrawn="1"/>
        </p:nvGrpSpPr>
        <p:grpSpPr>
          <a:xfrm>
            <a:off x="501652" y="417441"/>
            <a:ext cx="2213044" cy="34183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EC45719C-B1A7-471E-9F72-D1409C79C1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47EFBD3-1301-4717-9B60-0911F57B9F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6423EF1B-5B23-447A-BE1C-6A2F97BEA9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4D96CD44-34B8-4487-BB4C-38D92CF8CF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96D8AB73-6C16-4CB5-95BC-48FC9AE28D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E81D8B54-0F9A-4DFC-9888-8B34B8B83B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61E67166-B29A-4063-9649-BD7418830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60587DAE-F3CA-46C5-BC45-F6E8E4C68F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7C0292F9-C1FB-43E4-AC59-C2C7BB871D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309C48-B6FC-44A3-B51D-9FE2519F0A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DB3D577-664B-48E5-9447-98DDD056A8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9C44755-8380-491B-86CB-6C64C69068A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4764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3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146974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275495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B50AB-819C-4B24-BF65-F766303EF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E39853-C365-4D33-8B88-890F854BAD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46E0F2-73DB-464C-B94E-4FC6B6832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DA8E6B-6879-4EC5-80DF-F7E57C2D5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0CFAF9-81DC-41DA-85A6-33C11F5A9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4380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0BD85B-F7D0-4113-B571-70408B75E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BE0647-49F4-473A-9B16-46811DE1D4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D5048-ACBF-4024-8FD3-436F09697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273743-5552-4CDB-A6B7-36EC556A3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C98B3D-DE14-4816-8505-203C60BDF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7393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FA884-4015-4940-99E2-975F471AA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8853D2-F63F-4B79-B3BA-F3C154FB36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4A3433-BE10-459C-9221-A908DBECA0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E88EE6-D82A-4293-A93F-ACE657C0E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E332AD-8BE4-4A3B-A3CF-D0CA944BF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C93323-59B7-436E-96BF-2B717B65A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068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6447F-035F-4E3E-AE57-6E61411E7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2ADB61-8C78-401E-B146-8CA15C3B7E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614A1F-A461-4CD4-9210-E26240B2F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CA6C71-6D3E-44EF-B079-76A2D0B2F8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9B18267-C6B8-45E8-BA3E-54A6693C4C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93BCB2-1F6D-4F15-AB78-C53DA9EF4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065CEC-22E3-42E3-9ED4-AD663159D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48E854E-7820-4842-9A26-11973CCC9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990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CB3FE-C74B-46DA-AAF9-C81B555D1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F66717-1B67-49CB-86BA-8CD3544696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FB8F60-33E5-40B7-A47D-974714232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225DCF-013F-4D42-B5A0-CC90439B6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930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EEEBA1-430C-49B3-ADF2-96ED8804C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020A66-BB2A-4F54-B633-E279704CE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CFF30-DAA4-4637-8E98-F5CE35D1E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822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4352B2-CBB2-44A3-B2D8-99383AF5E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C2BE57-CD7A-42EA-B337-11FAF1DD6B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1A58E2-D5FA-4095-BDC6-C8365597FC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BB3FD4-A311-4186-8723-F19A79197B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9AA912-4F4E-4F1A-8C6D-8771D3876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07921B-48BE-4E86-88DA-32E1B17E3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5620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803499-63DD-45F5-91F3-597F1816F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13F3E68-51B9-4B11-BACB-A2C4D5FF02E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32651D-EA76-4785-8061-82F13B1FF6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7C47EE-01F7-4D2B-9F08-83C9236E66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BF4BF-578E-4AA7-823D-CB49BA08A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62CEC8-7F3F-4F65-B848-3C9438016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445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F50A34-D87D-4D3C-8908-E1206FA03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2C90B5-E93C-4862-8D66-320AB2D8C4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9A4D22-5B40-445B-9339-AA463963E1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E5E3DF-5CED-439C-91C1-CD18ACBD68FB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3F972C-7CC1-434F-A1EE-B336EB685D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3700C6-670F-4BDA-933B-AF351F301F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652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Placeholder 8">
            <a:extLst>
              <a:ext uri="{FF2B5EF4-FFF2-40B4-BE49-F238E27FC236}">
                <a16:creationId xmlns:a16="http://schemas.microsoft.com/office/drawing/2014/main" id="{1132DB23-DC12-42A8-B06D-18F67F595E3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1" r="20891"/>
          <a:stretch/>
        </p:blipFill>
        <p:spPr>
          <a:xfrm>
            <a:off x="3536108" y="775808"/>
            <a:ext cx="5620865" cy="545989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4C65F6-8EEC-4BDC-A0C8-8DB31CC270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cap="all" dirty="0"/>
              <a:t>Hope Miller</a:t>
            </a:r>
          </a:p>
        </p:txBody>
      </p:sp>
      <p:sp>
        <p:nvSpPr>
          <p:cNvPr id="38" name="Title 2">
            <a:extLst>
              <a:ext uri="{FF2B5EF4-FFF2-40B4-BE49-F238E27FC236}">
                <a16:creationId xmlns:a16="http://schemas.microsoft.com/office/drawing/2014/main" id="{46853F14-A99A-414D-A743-F0C4F220DD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1" y="5186209"/>
            <a:ext cx="3923108" cy="895983"/>
          </a:xfrm>
        </p:spPr>
        <p:txBody>
          <a:bodyPr/>
          <a:lstStyle/>
          <a:p>
            <a:r>
              <a:rPr lang="en-US" b="1" dirty="0">
                <a:solidFill>
                  <a:srgbClr val="1ED760"/>
                </a:solidFill>
              </a:rPr>
              <a:t>Analyzing Spotify Reviews with NLP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EAF5A2F8-F8A3-445C-8FB1-02997B791B3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70288" y="5505025"/>
            <a:ext cx="1271884" cy="127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09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AB8EF-6C62-445B-8017-FE6D38983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3048" y="642705"/>
            <a:ext cx="10363200" cy="594360"/>
          </a:xfrm>
        </p:spPr>
        <p:txBody>
          <a:bodyPr anchor="b"/>
          <a:lstStyle/>
          <a:p>
            <a:pPr marL="12700">
              <a:spcBef>
                <a:spcPts val="100"/>
              </a:spcBef>
            </a:pPr>
            <a:r>
              <a:rPr lang="en-US" sz="2400" spc="-5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urpose</a:t>
            </a:r>
            <a:endParaRPr lang="en-US" sz="2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075D41-56B7-4D71-AE73-F92D48FD22C0}"/>
              </a:ext>
            </a:extLst>
          </p:cNvPr>
          <p:cNvSpPr/>
          <p:nvPr/>
        </p:nvSpPr>
        <p:spPr>
          <a:xfrm>
            <a:off x="914400" y="2731801"/>
            <a:ext cx="227063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Backgroun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53DD34C-446A-4992-8CDF-A7596BC5962A}"/>
              </a:ext>
            </a:extLst>
          </p:cNvPr>
          <p:cNvSpPr/>
          <p:nvPr/>
        </p:nvSpPr>
        <p:spPr>
          <a:xfrm>
            <a:off x="4609978" y="2731802"/>
            <a:ext cx="2629021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Goal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253DDA9-54F0-4267-A4D3-15EFD22BA2ED}"/>
              </a:ext>
            </a:extLst>
          </p:cNvPr>
          <p:cNvSpPr/>
          <p:nvPr/>
        </p:nvSpPr>
        <p:spPr>
          <a:xfrm>
            <a:off x="8336945" y="2731802"/>
            <a:ext cx="207705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Approach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0CA646C-AA7C-4E22-8176-E9042A98D376}"/>
              </a:ext>
            </a:extLst>
          </p:cNvPr>
          <p:cNvCxnSpPr/>
          <p:nvPr/>
        </p:nvCxnSpPr>
        <p:spPr>
          <a:xfrm>
            <a:off x="914400" y="3488521"/>
            <a:ext cx="3415029" cy="0"/>
          </a:xfrm>
          <a:prstGeom prst="line">
            <a:avLst/>
          </a:prstGeom>
          <a:ln w="38100">
            <a:solidFill>
              <a:srgbClr val="1ED7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2F3119B-5708-43DF-9051-A7E2EC8A22EE}"/>
              </a:ext>
            </a:extLst>
          </p:cNvPr>
          <p:cNvCxnSpPr/>
          <p:nvPr/>
        </p:nvCxnSpPr>
        <p:spPr>
          <a:xfrm>
            <a:off x="4609978" y="3488521"/>
            <a:ext cx="3415029" cy="0"/>
          </a:xfrm>
          <a:prstGeom prst="line">
            <a:avLst/>
          </a:prstGeom>
          <a:ln w="381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18B8F75C-DDC4-47A4-9B1B-3EE3B5E1D6CF}"/>
              </a:ext>
            </a:extLst>
          </p:cNvPr>
          <p:cNvSpPr/>
          <p:nvPr/>
        </p:nvSpPr>
        <p:spPr>
          <a:xfrm>
            <a:off x="927849" y="1869270"/>
            <a:ext cx="570212" cy="570212"/>
          </a:xfrm>
          <a:prstGeom prst="ellipse">
            <a:avLst/>
          </a:prstGeom>
          <a:noFill/>
          <a:ln w="34925">
            <a:solidFill>
              <a:srgbClr val="1ED7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u="none" strike="noStrike" kern="1200" cap="none" spc="0" normalizeH="0" baseline="0" noProof="0">
                <a:ln>
                  <a:noFill/>
                </a:ln>
                <a:solidFill>
                  <a:srgbClr val="1ED760"/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1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A7B57D5-794A-48B4-B44C-EED7C2F3E676}"/>
              </a:ext>
            </a:extLst>
          </p:cNvPr>
          <p:cNvSpPr/>
          <p:nvPr/>
        </p:nvSpPr>
        <p:spPr>
          <a:xfrm>
            <a:off x="4623427" y="1869270"/>
            <a:ext cx="570212" cy="57021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2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AF8A8D1-BF6C-488D-AD28-EF855B8A9597}"/>
              </a:ext>
            </a:extLst>
          </p:cNvPr>
          <p:cNvSpPr/>
          <p:nvPr/>
        </p:nvSpPr>
        <p:spPr>
          <a:xfrm>
            <a:off x="8350394" y="1869270"/>
            <a:ext cx="570212" cy="57021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059DBDF-962B-48D0-8AAA-AC8FE4EFEC46}"/>
              </a:ext>
            </a:extLst>
          </p:cNvPr>
          <p:cNvSpPr/>
          <p:nvPr/>
        </p:nvSpPr>
        <p:spPr>
          <a:xfrm>
            <a:off x="914400" y="3642051"/>
            <a:ext cx="3415029" cy="664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kumimoji="0" lang="en-US" sz="14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- As of today, Spotify has over 27.2 million reviews on the Google Play app store and  25 million on the Apple App Sto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7D4AE4-AA18-4D80-A78F-C39C3A4F607B}"/>
              </a:ext>
            </a:extLst>
          </p:cNvPr>
          <p:cNvSpPr/>
          <p:nvPr/>
        </p:nvSpPr>
        <p:spPr>
          <a:xfrm>
            <a:off x="4609978" y="3642051"/>
            <a:ext cx="3415028" cy="664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lang="en-US" sz="1400" spc="-30" dirty="0">
                <a:solidFill>
                  <a:srgbClr val="000000"/>
                </a:solidFill>
                <a:latin typeface="Open Sans"/>
                <a:ea typeface="Open Sans" charset="0"/>
                <a:cs typeface="Open Sans" charset="0"/>
              </a:rPr>
              <a:t>- Develop a way to quickly analyze customer satisfaction and get customer insight related to  the app. 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lang="en-US" sz="1400" spc="-30" dirty="0">
                <a:solidFill>
                  <a:srgbClr val="000000"/>
                </a:solidFill>
                <a:latin typeface="Open Sans"/>
                <a:ea typeface="Open Sans" charset="0"/>
                <a:cs typeface="Open Sans" charset="0"/>
              </a:rPr>
              <a:t>- Bigs and applications errors may also be uncovered through reviews. </a:t>
            </a:r>
            <a:endParaRPr kumimoji="0" lang="en-US" sz="1400" b="0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3E9173A-25C7-441F-8240-4F556D4EF40B}"/>
              </a:ext>
            </a:extLst>
          </p:cNvPr>
          <p:cNvSpPr/>
          <p:nvPr/>
        </p:nvSpPr>
        <p:spPr>
          <a:xfrm>
            <a:off x="8336945" y="3642051"/>
            <a:ext cx="3415029" cy="664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lang="en-US" sz="1400" spc="-30" dirty="0">
                <a:solidFill>
                  <a:srgbClr val="000000"/>
                </a:solidFill>
                <a:latin typeface="Open Sans"/>
                <a:ea typeface="Open Sans" charset="0"/>
                <a:cs typeface="Open Sans" charset="0"/>
              </a:rPr>
              <a:t>- Over 61,000 reviews were scraped off the Google Play app store </a:t>
            </a:r>
          </a:p>
          <a:p>
            <a:pPr marL="0" marR="0" lvl="0" indent="0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lang="en-US" sz="1400" spc="-30" dirty="0">
                <a:solidFill>
                  <a:srgbClr val="000000"/>
                </a:solidFill>
                <a:latin typeface="Open Sans"/>
                <a:ea typeface="Open Sans" charset="0"/>
                <a:cs typeface="Open Sans" charset="0"/>
              </a:rPr>
              <a:t>- Looking at what the customers say in their ratings gives un-bias insight into how Spotify is doing, in terms of customer satisfaction. </a:t>
            </a:r>
            <a:endParaRPr kumimoji="0" lang="en-US" sz="1400" b="0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028D02E-5568-4A58-8FA9-15343E87D26F}"/>
              </a:ext>
            </a:extLst>
          </p:cNvPr>
          <p:cNvCxnSpPr/>
          <p:nvPr/>
        </p:nvCxnSpPr>
        <p:spPr>
          <a:xfrm>
            <a:off x="8336945" y="3488521"/>
            <a:ext cx="341502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7017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up 71">
            <a:extLst>
              <a:ext uri="{FF2B5EF4-FFF2-40B4-BE49-F238E27FC236}">
                <a16:creationId xmlns:a16="http://schemas.microsoft.com/office/drawing/2014/main" id="{CAE7CDB1-B8BE-4AD8-96D4-E75564F66588}"/>
              </a:ext>
            </a:extLst>
          </p:cNvPr>
          <p:cNvGrpSpPr/>
          <p:nvPr/>
        </p:nvGrpSpPr>
        <p:grpSpPr>
          <a:xfrm>
            <a:off x="1761944" y="1499191"/>
            <a:ext cx="9144626" cy="4569647"/>
            <a:chOff x="2634801" y="1840230"/>
            <a:chExt cx="6923777" cy="3270085"/>
          </a:xfrm>
        </p:grpSpPr>
        <p:sp>
          <p:nvSpPr>
            <p:cNvPr id="73" name="Rectangle 13">
              <a:extLst>
                <a:ext uri="{FF2B5EF4-FFF2-40B4-BE49-F238E27FC236}">
                  <a16:creationId xmlns:a16="http://schemas.microsoft.com/office/drawing/2014/main" id="{6DAE3644-09C0-446C-9AC9-64F85ABF6380}"/>
                </a:ext>
              </a:extLst>
            </p:cNvPr>
            <p:cNvSpPr/>
            <p:nvPr/>
          </p:nvSpPr>
          <p:spPr>
            <a:xfrm rot="12691956">
              <a:off x="7660581" y="3033663"/>
              <a:ext cx="1173179" cy="1344110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3565A"/>
            </a:solidFill>
            <a:ln w="12700" cap="flat" cmpd="sng" algn="ctr">
              <a:noFill/>
              <a:prstDash val="solid"/>
            </a:ln>
            <a:effectLst/>
          </p:spPr>
          <p:txBody>
            <a:bodyPr lIns="29250" tIns="29250" rIns="29250" bIns="2925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Rectangle 13">
              <a:extLst>
                <a:ext uri="{FF2B5EF4-FFF2-40B4-BE49-F238E27FC236}">
                  <a16:creationId xmlns:a16="http://schemas.microsoft.com/office/drawing/2014/main" id="{A1C968EF-1CA4-4DD6-9504-94716F9BF07A}"/>
                </a:ext>
              </a:extLst>
            </p:cNvPr>
            <p:cNvSpPr/>
            <p:nvPr/>
          </p:nvSpPr>
          <p:spPr>
            <a:xfrm rot="9073758">
              <a:off x="5915099" y="2971874"/>
              <a:ext cx="1224381" cy="1402772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3565A"/>
            </a:solidFill>
            <a:ln w="12700" cap="flat" cmpd="sng" algn="ctr">
              <a:noFill/>
              <a:prstDash val="solid"/>
            </a:ln>
            <a:effectLst/>
          </p:spPr>
          <p:txBody>
            <a:bodyPr lIns="29250" tIns="29250" rIns="29250" bIns="2925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Rectangle 13">
              <a:extLst>
                <a:ext uri="{FF2B5EF4-FFF2-40B4-BE49-F238E27FC236}">
                  <a16:creationId xmlns:a16="http://schemas.microsoft.com/office/drawing/2014/main" id="{5FA96B9B-9F40-40FF-9D27-890393A3CE8B}"/>
                </a:ext>
              </a:extLst>
            </p:cNvPr>
            <p:cNvSpPr/>
            <p:nvPr/>
          </p:nvSpPr>
          <p:spPr>
            <a:xfrm rot="2024838">
              <a:off x="4000039" y="2840262"/>
              <a:ext cx="1611666" cy="1659646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3565A"/>
            </a:solidFill>
            <a:ln w="12700" cap="flat" cmpd="sng" algn="ctr">
              <a:noFill/>
              <a:prstDash val="solid"/>
            </a:ln>
            <a:effectLst/>
          </p:spPr>
          <p:txBody>
            <a:bodyPr lIns="29250" tIns="29250" rIns="29250" bIns="2925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6DEA81C-4743-4860-B839-6B171C59AC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28120" y="2325581"/>
              <a:ext cx="1748174" cy="1747304"/>
            </a:xfrm>
            <a:prstGeom prst="ellipse">
              <a:avLst/>
            </a:prstGeom>
            <a:solidFill>
              <a:srgbClr val="89EFAD"/>
            </a:solidFill>
            <a:ln w="6350" cap="flat" cmpd="sng" algn="ctr">
              <a:noFill/>
              <a:prstDash val="solid"/>
            </a:ln>
            <a:effectLst/>
          </p:spPr>
          <p:txBody>
            <a:bodyPr lIns="74295" tIns="74295" rIns="74295" bIns="74295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780BA0D7-8871-4FF8-9442-9522D721BCEF}"/>
                </a:ext>
              </a:extLst>
            </p:cNvPr>
            <p:cNvSpPr/>
            <p:nvPr/>
          </p:nvSpPr>
          <p:spPr>
            <a:xfrm>
              <a:off x="2634801" y="1840230"/>
              <a:ext cx="2241396" cy="2241396"/>
            </a:xfrm>
            <a:prstGeom prst="ellipse">
              <a:avLst/>
            </a:prstGeom>
            <a:solidFill>
              <a:srgbClr val="1ED760"/>
            </a:solidFill>
            <a:ln w="6350" cap="flat" cmpd="sng" algn="ctr">
              <a:noFill/>
              <a:prstDash val="solid"/>
            </a:ln>
            <a:effectLst/>
          </p:spPr>
          <p:txBody>
            <a:bodyPr lIns="74295" tIns="74295" rIns="74295" bIns="74295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7ED808B3-5B59-4E24-8789-B06AC0FBB7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9833" y="3154196"/>
              <a:ext cx="1957093" cy="1956119"/>
            </a:xfrm>
            <a:prstGeom prst="ellipse">
              <a:avLst/>
            </a:prstGeom>
            <a:solidFill>
              <a:srgbClr val="61E992"/>
            </a:solidFill>
            <a:ln w="6350" cap="flat" cmpd="sng" algn="ctr">
              <a:noFill/>
              <a:prstDash val="solid"/>
            </a:ln>
            <a:effectLst/>
          </p:spPr>
          <p:txBody>
            <a:bodyPr lIns="74295" tIns="74295" rIns="74295" bIns="74295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B044588-5AA2-4C0A-A084-447DBC245219}"/>
                </a:ext>
              </a:extLst>
            </p:cNvPr>
            <p:cNvSpPr/>
            <p:nvPr/>
          </p:nvSpPr>
          <p:spPr>
            <a:xfrm>
              <a:off x="3271542" y="2729668"/>
              <a:ext cx="1325805" cy="462521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- Clean and prep data</a:t>
              </a:r>
            </a:p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- Adding a sentiment tag	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C94EC01F-AC11-4106-B737-B09EF69CD420}"/>
                </a:ext>
              </a:extLst>
            </p:cNvPr>
            <p:cNvSpPr txBox="1"/>
            <p:nvPr/>
          </p:nvSpPr>
          <p:spPr>
            <a:xfrm>
              <a:off x="2705984" y="2644500"/>
              <a:ext cx="631825" cy="632858"/>
            </a:xfrm>
            <a:prstGeom prst="rect">
              <a:avLst/>
            </a:prstGeom>
            <a:noFill/>
          </p:spPr>
          <p:txBody>
            <a:bodyPr wrap="square" lIns="29250" tIns="29250" rIns="29250" bIns="2925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6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CD7F1AAB-CEE4-49B1-90B4-835D9111CB9C}"/>
                </a:ext>
              </a:extLst>
            </p:cNvPr>
            <p:cNvCxnSpPr/>
            <p:nvPr/>
          </p:nvCxnSpPr>
          <p:spPr>
            <a:xfrm>
              <a:off x="3195341" y="2236290"/>
              <a:ext cx="0" cy="1449276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CA113169-15F4-4C66-BD7B-CBF163F2C3E5}"/>
                </a:ext>
              </a:extLst>
            </p:cNvPr>
            <p:cNvSpPr/>
            <p:nvPr/>
          </p:nvSpPr>
          <p:spPr>
            <a:xfrm>
              <a:off x="5396503" y="3791858"/>
              <a:ext cx="1034476" cy="77086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en-US" sz="1400" kern="0" dirty="0">
                  <a:solidFill>
                    <a:prstClr val="white"/>
                  </a:solidFill>
                </a:rPr>
                <a:t>Build a Multinomial Naive Bayes (MNB) model </a:t>
              </a:r>
            </a:p>
            <a:p>
              <a:pPr marL="285750" indent="-285750">
                <a:buFontTx/>
                <a:buChar char="-"/>
                <a:defRPr/>
              </a:pPr>
              <a:r>
                <a:rPr lang="en-US" sz="1400" kern="0" dirty="0">
                  <a:solidFill>
                    <a:prstClr val="white"/>
                  </a:solidFill>
                </a:rPr>
                <a:t>Train the data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5AB3203-454A-4E5E-9F0D-1E095273996A}"/>
                </a:ext>
              </a:extLst>
            </p:cNvPr>
            <p:cNvSpPr txBox="1"/>
            <p:nvPr/>
          </p:nvSpPr>
          <p:spPr>
            <a:xfrm>
              <a:off x="4795158" y="3860864"/>
              <a:ext cx="631825" cy="632858"/>
            </a:xfrm>
            <a:prstGeom prst="rect">
              <a:avLst/>
            </a:prstGeom>
            <a:noFill/>
          </p:spPr>
          <p:txBody>
            <a:bodyPr wrap="square" lIns="29250" tIns="29250" rIns="29250" bIns="2925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6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27B50106-3FAF-498A-94FC-CFE3D5325F99}"/>
                </a:ext>
              </a:extLst>
            </p:cNvPr>
            <p:cNvCxnSpPr/>
            <p:nvPr/>
          </p:nvCxnSpPr>
          <p:spPr>
            <a:xfrm>
              <a:off x="5324503" y="3452654"/>
              <a:ext cx="0" cy="1449276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42B81222-035F-45A1-9C3B-23FC77791579}"/>
                </a:ext>
              </a:extLst>
            </p:cNvPr>
            <p:cNvSpPr/>
            <p:nvPr/>
          </p:nvSpPr>
          <p:spPr>
            <a:xfrm>
              <a:off x="7226744" y="2967974"/>
              <a:ext cx="790882" cy="462521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- Evaluate the model for accuracy 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9802B6B-A665-4CAD-8374-BD851DA48682}"/>
                </a:ext>
              </a:extLst>
            </p:cNvPr>
            <p:cNvSpPr txBox="1"/>
            <p:nvPr/>
          </p:nvSpPr>
          <p:spPr>
            <a:xfrm>
              <a:off x="6596806" y="2882804"/>
              <a:ext cx="631825" cy="632858"/>
            </a:xfrm>
            <a:prstGeom prst="rect">
              <a:avLst/>
            </a:prstGeom>
            <a:noFill/>
          </p:spPr>
          <p:txBody>
            <a:bodyPr wrap="square" lIns="29250" tIns="29250" rIns="29250" bIns="2925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6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</a:t>
              </a: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29D2C871-1D14-4E3D-AEE0-337B4A7C5273}"/>
                </a:ext>
              </a:extLst>
            </p:cNvPr>
            <p:cNvCxnSpPr/>
            <p:nvPr/>
          </p:nvCxnSpPr>
          <p:spPr>
            <a:xfrm>
              <a:off x="7144257" y="2521724"/>
              <a:ext cx="0" cy="1355021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4FE4703C-9860-4FA9-8FBB-3396E63B6E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53193" y="3386355"/>
              <a:ext cx="1405385" cy="1404687"/>
            </a:xfrm>
            <a:prstGeom prst="ellipse">
              <a:avLst/>
            </a:prstGeom>
            <a:solidFill>
              <a:srgbClr val="CFF9DE"/>
            </a:solidFill>
            <a:ln w="6350" cap="flat" cmpd="sng" algn="ctr">
              <a:noFill/>
              <a:prstDash val="solid"/>
            </a:ln>
            <a:effectLst/>
          </p:spPr>
          <p:txBody>
            <a:bodyPr lIns="74295" tIns="74295" rIns="74295" bIns="74295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EEE7D741-805C-4D7F-9EC7-7D60A1180CB9}"/>
                </a:ext>
              </a:extLst>
            </p:cNvPr>
            <p:cNvSpPr/>
            <p:nvPr/>
          </p:nvSpPr>
          <p:spPr>
            <a:xfrm>
              <a:off x="8827620" y="3549092"/>
              <a:ext cx="617489" cy="1079215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400" kern="0" dirty="0">
                  <a:solidFill>
                    <a:prstClr val="black"/>
                  </a:solidFill>
                </a:rPr>
                <a:t>- Use the Bag of Words method to pull out key findings 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EEA12A4F-3F41-4C7C-87B8-0BBFACC71FD2}"/>
                </a:ext>
              </a:extLst>
            </p:cNvPr>
            <p:cNvSpPr txBox="1"/>
            <p:nvPr/>
          </p:nvSpPr>
          <p:spPr>
            <a:xfrm>
              <a:off x="8200125" y="3772268"/>
              <a:ext cx="631825" cy="632858"/>
            </a:xfrm>
            <a:prstGeom prst="rect">
              <a:avLst/>
            </a:prstGeom>
            <a:noFill/>
          </p:spPr>
          <p:txBody>
            <a:bodyPr wrap="square" lIns="29250" tIns="29250" rIns="29250" bIns="2925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63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4</a:t>
              </a:r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62A7E81E-1876-4929-8832-28E529E6ADFF}"/>
                </a:ext>
              </a:extLst>
            </p:cNvPr>
            <p:cNvCxnSpPr/>
            <p:nvPr/>
          </p:nvCxnSpPr>
          <p:spPr>
            <a:xfrm>
              <a:off x="8736179" y="3602968"/>
              <a:ext cx="0" cy="97146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none"/>
              <a:tailEnd type="none"/>
            </a:ln>
            <a:effectLst/>
          </p:spPr>
        </p:cxnSp>
      </p:grpSp>
      <p:sp>
        <p:nvSpPr>
          <p:cNvPr id="92" name="Title 1">
            <a:extLst>
              <a:ext uri="{FF2B5EF4-FFF2-40B4-BE49-F238E27FC236}">
                <a16:creationId xmlns:a16="http://schemas.microsoft.com/office/drawing/2014/main" id="{A82DD0C4-5AA4-4139-82EF-29036AE7A3FF}"/>
              </a:ext>
            </a:extLst>
          </p:cNvPr>
          <p:cNvSpPr txBox="1">
            <a:spLocks/>
          </p:cNvSpPr>
          <p:nvPr/>
        </p:nvSpPr>
        <p:spPr>
          <a:xfrm>
            <a:off x="743048" y="642705"/>
            <a:ext cx="11188700" cy="75723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sz="2400" spc="-5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hod</a:t>
            </a:r>
            <a:endParaRPr lang="en-US" sz="2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7215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0FF73CD-77CE-424D-A324-6FEDE6FB6436}"/>
              </a:ext>
            </a:extLst>
          </p:cNvPr>
          <p:cNvSpPr txBox="1">
            <a:spLocks/>
          </p:cNvSpPr>
          <p:nvPr/>
        </p:nvSpPr>
        <p:spPr>
          <a:xfrm>
            <a:off x="743048" y="642705"/>
            <a:ext cx="11188700" cy="75723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sz="2400" spc="-5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sults: MNB Model</a:t>
            </a:r>
          </a:p>
        </p:txBody>
      </p:sp>
      <p:graphicFrame>
        <p:nvGraphicFramePr>
          <p:cNvPr id="15" name="Content Placeholder 6">
            <a:extLst>
              <a:ext uri="{FF2B5EF4-FFF2-40B4-BE49-F238E27FC236}">
                <a16:creationId xmlns:a16="http://schemas.microsoft.com/office/drawing/2014/main" id="{797649F8-68E1-4CC0-9851-5998A66975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3840696"/>
              </p:ext>
            </p:extLst>
          </p:nvPr>
        </p:nvGraphicFramePr>
        <p:xfrm>
          <a:off x="236636" y="1987511"/>
          <a:ext cx="5564314" cy="1076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4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50742">
                <a:tc>
                  <a:txBody>
                    <a:bodyPr/>
                    <a:lstStyle/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Ratings: </a:t>
                      </a: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1E99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67% accuracy </a:t>
                      </a:r>
                    </a:p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ED7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6115EEC7-B85E-4FAE-8D5A-98EE382D1D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27" t="4989" r="6126" b="6434"/>
          <a:stretch/>
        </p:blipFill>
        <p:spPr>
          <a:xfrm>
            <a:off x="5800950" y="1078641"/>
            <a:ext cx="5807663" cy="275150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E92E669-AAFC-4DAD-AF96-2EB8BD7AE7F1}"/>
              </a:ext>
            </a:extLst>
          </p:cNvPr>
          <p:cNvSpPr/>
          <p:nvPr/>
        </p:nvSpPr>
        <p:spPr>
          <a:xfrm>
            <a:off x="9846027" y="3039933"/>
            <a:ext cx="616449" cy="26834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AC95D0DB-E28B-4955-943F-84C66A9D078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1" t="8405" r="4349" b="7478"/>
          <a:stretch/>
        </p:blipFill>
        <p:spPr>
          <a:xfrm>
            <a:off x="5800950" y="4228234"/>
            <a:ext cx="5807663" cy="2368234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graphicFrame>
        <p:nvGraphicFramePr>
          <p:cNvPr id="12" name="Content Placeholder 6">
            <a:extLst>
              <a:ext uri="{FF2B5EF4-FFF2-40B4-BE49-F238E27FC236}">
                <a16:creationId xmlns:a16="http://schemas.microsoft.com/office/drawing/2014/main" id="{5AE5114B-49E3-4EB6-8EEF-467477C876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5151172"/>
              </p:ext>
            </p:extLst>
          </p:nvPr>
        </p:nvGraphicFramePr>
        <p:xfrm>
          <a:off x="216087" y="4886979"/>
          <a:ext cx="5564314" cy="1092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4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50743">
                <a:tc>
                  <a:txBody>
                    <a:bodyPr/>
                    <a:lstStyle/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1E99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Sentiment Analysis: </a:t>
                      </a: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1E99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80% accuracy </a:t>
                      </a:r>
                    </a:p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ED7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092ACBBF-09A5-411B-9502-9A3DE3D67A5A}"/>
              </a:ext>
            </a:extLst>
          </p:cNvPr>
          <p:cNvSpPr/>
          <p:nvPr/>
        </p:nvSpPr>
        <p:spPr>
          <a:xfrm>
            <a:off x="9947056" y="5738263"/>
            <a:ext cx="616449" cy="26834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97053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ontent Placeholder 6">
            <a:extLst>
              <a:ext uri="{FF2B5EF4-FFF2-40B4-BE49-F238E27FC236}">
                <a16:creationId xmlns:a16="http://schemas.microsoft.com/office/drawing/2014/main" id="{45B08506-A9EB-4714-9E37-BAAB634CFB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3521707"/>
              </p:ext>
            </p:extLst>
          </p:nvPr>
        </p:nvGraphicFramePr>
        <p:xfrm>
          <a:off x="6620541" y="1438919"/>
          <a:ext cx="5304269" cy="52266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042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2266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D76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Negative Reviews: </a:t>
                      </a: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</a:rPr>
                        <a:t>Paying for Spotify Premium, ads, not being able to skip songs, song suggestions, and new updates</a:t>
                      </a: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ED7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2" name="Content Placeholder 6">
            <a:extLst>
              <a:ext uri="{FF2B5EF4-FFF2-40B4-BE49-F238E27FC236}">
                <a16:creationId xmlns:a16="http://schemas.microsoft.com/office/drawing/2014/main" id="{243E3632-3F81-4CEE-A4C3-837FD86161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2150725"/>
              </p:ext>
            </p:extLst>
          </p:nvPr>
        </p:nvGraphicFramePr>
        <p:xfrm>
          <a:off x="267190" y="1514344"/>
          <a:ext cx="5304270" cy="52266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04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2266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D76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Positive Reviews: </a:t>
                      </a: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The</a:t>
                      </a:r>
                      <a:r>
                        <a:rPr kumimoji="1" lang="ja-JP" altLang="en-US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 </a:t>
                      </a: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app</a:t>
                      </a:r>
                      <a:r>
                        <a:rPr kumimoji="1" lang="ja-JP" altLang="en-US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 </a:t>
                      </a: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overall,</a:t>
                      </a:r>
                      <a:r>
                        <a:rPr kumimoji="1" lang="ja-JP" altLang="en-US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 </a:t>
                      </a: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vast song</a:t>
                      </a:r>
                      <a:r>
                        <a:rPr kumimoji="1" lang="ja-JP" altLang="en-US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 </a:t>
                      </a: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selections, Spotify Premium, and podcast</a:t>
                      </a:r>
                      <a:endParaRPr kumimoji="1" lang="en-US" altLang="ja-JP" sz="1400" b="0" dirty="0">
                        <a:solidFill>
                          <a:prstClr val="black"/>
                        </a:solidFill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ED7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10FF73CD-77CE-424D-A324-6FEDE6FB6436}"/>
              </a:ext>
            </a:extLst>
          </p:cNvPr>
          <p:cNvSpPr txBox="1">
            <a:spLocks/>
          </p:cNvSpPr>
          <p:nvPr/>
        </p:nvSpPr>
        <p:spPr>
          <a:xfrm>
            <a:off x="736110" y="701558"/>
            <a:ext cx="11188700" cy="75723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sz="2400" spc="-5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sults: Key Findings</a:t>
            </a:r>
            <a:endParaRPr lang="en-US" sz="2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4" name="Picture 23" descr="Chart, histogram&#10;&#10;Description automatically generated">
            <a:extLst>
              <a:ext uri="{FF2B5EF4-FFF2-40B4-BE49-F238E27FC236}">
                <a16:creationId xmlns:a16="http://schemas.microsoft.com/office/drawing/2014/main" id="{040E091A-FE5C-40CE-8575-FAE88B7390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9" r="3346"/>
          <a:stretch/>
        </p:blipFill>
        <p:spPr>
          <a:xfrm>
            <a:off x="374143" y="3980529"/>
            <a:ext cx="2964483" cy="1982949"/>
          </a:xfrm>
          <a:prstGeom prst="rect">
            <a:avLst/>
          </a:prstGeom>
        </p:spPr>
      </p:pic>
      <p:pic>
        <p:nvPicPr>
          <p:cNvPr id="26" name="Picture 25" descr="Chart, histogram&#10;&#10;Description automatically generated">
            <a:extLst>
              <a:ext uri="{FF2B5EF4-FFF2-40B4-BE49-F238E27FC236}">
                <a16:creationId xmlns:a16="http://schemas.microsoft.com/office/drawing/2014/main" id="{F733278D-4A26-4FCD-A65C-6B649695DC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071" y="3964195"/>
            <a:ext cx="2912577" cy="1984248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17A34B4-79F8-432C-A967-5E24FCEB36B9}"/>
              </a:ext>
            </a:extLst>
          </p:cNvPr>
          <p:cNvGrpSpPr/>
          <p:nvPr/>
        </p:nvGrpSpPr>
        <p:grpSpPr>
          <a:xfrm>
            <a:off x="2137237" y="2006443"/>
            <a:ext cx="3279959" cy="3114048"/>
            <a:chOff x="1991803" y="1984112"/>
            <a:chExt cx="3005638" cy="2908425"/>
          </a:xfrm>
        </p:grpSpPr>
        <p:pic>
          <p:nvPicPr>
            <p:cNvPr id="19" name="Picture 18" descr="A picture containing table&#10;&#10;Description automatically generated">
              <a:extLst>
                <a:ext uri="{FF2B5EF4-FFF2-40B4-BE49-F238E27FC236}">
                  <a16:creationId xmlns:a16="http://schemas.microsoft.com/office/drawing/2014/main" id="{BC02F999-9547-4289-AD70-77997D8CB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93" t="2413" b="49267"/>
            <a:stretch/>
          </p:blipFill>
          <p:spPr>
            <a:xfrm>
              <a:off x="1991803" y="1984112"/>
              <a:ext cx="1502819" cy="2908425"/>
            </a:xfrm>
            <a:prstGeom prst="rect">
              <a:avLst/>
            </a:prstGeom>
            <a:ln w="3175">
              <a:solidFill>
                <a:srgbClr val="A5A5A5"/>
              </a:solidFill>
            </a:ln>
          </p:spPr>
        </p:pic>
        <p:pic>
          <p:nvPicPr>
            <p:cNvPr id="20" name="Picture 19" descr="A picture containing table&#10;&#10;Description automatically generated">
              <a:extLst>
                <a:ext uri="{FF2B5EF4-FFF2-40B4-BE49-F238E27FC236}">
                  <a16:creationId xmlns:a16="http://schemas.microsoft.com/office/drawing/2014/main" id="{5FC45460-F243-4B79-BA82-323394BB61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93" t="50522" b="1159"/>
            <a:stretch/>
          </p:blipFill>
          <p:spPr>
            <a:xfrm>
              <a:off x="3494622" y="1984112"/>
              <a:ext cx="1502819" cy="2908425"/>
            </a:xfrm>
            <a:prstGeom prst="rect">
              <a:avLst/>
            </a:prstGeom>
            <a:ln w="3175">
              <a:solidFill>
                <a:srgbClr val="A5A5A5"/>
              </a:solidFill>
            </a:ln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C0CA67C-7E85-4F98-BDF1-DCCF81976FDC}"/>
              </a:ext>
            </a:extLst>
          </p:cNvPr>
          <p:cNvGrpSpPr/>
          <p:nvPr/>
        </p:nvGrpSpPr>
        <p:grpSpPr>
          <a:xfrm>
            <a:off x="8500533" y="1869948"/>
            <a:ext cx="3107755" cy="3118104"/>
            <a:chOff x="9052743" y="2241029"/>
            <a:chExt cx="2741806" cy="2220245"/>
          </a:xfrm>
        </p:grpSpPr>
        <p:pic>
          <p:nvPicPr>
            <p:cNvPr id="9" name="Picture 8" descr="Table&#10;&#10;Description automatically generated with low confidence">
              <a:extLst>
                <a:ext uri="{FF2B5EF4-FFF2-40B4-BE49-F238E27FC236}">
                  <a16:creationId xmlns:a16="http://schemas.microsoft.com/office/drawing/2014/main" id="{D7C72FF7-E09C-437B-9389-CDA2FA3B19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68" t="2168" b="51553"/>
            <a:stretch/>
          </p:blipFill>
          <p:spPr>
            <a:xfrm>
              <a:off x="9052743" y="2241621"/>
              <a:ext cx="1419125" cy="2219653"/>
            </a:xfrm>
            <a:prstGeom prst="rect">
              <a:avLst/>
            </a:prstGeom>
            <a:ln>
              <a:solidFill>
                <a:srgbClr val="A5A5A5"/>
              </a:solidFill>
            </a:ln>
          </p:spPr>
        </p:pic>
        <p:pic>
          <p:nvPicPr>
            <p:cNvPr id="25" name="Picture 24" descr="Table&#10;&#10;Description automatically generated with low confidence">
              <a:extLst>
                <a:ext uri="{FF2B5EF4-FFF2-40B4-BE49-F238E27FC236}">
                  <a16:creationId xmlns:a16="http://schemas.microsoft.com/office/drawing/2014/main" id="{D8BF9574-9BE5-4D9F-82D2-2958118C4E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90" t="48513" b="1213"/>
            <a:stretch/>
          </p:blipFill>
          <p:spPr>
            <a:xfrm>
              <a:off x="10471868" y="2241029"/>
              <a:ext cx="1322681" cy="2219653"/>
            </a:xfrm>
            <a:prstGeom prst="rect">
              <a:avLst/>
            </a:prstGeom>
            <a:ln>
              <a:solidFill>
                <a:srgbClr val="A5A5A5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35471771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1</TotalTime>
  <Words>213</Words>
  <Application>Microsoft Office PowerPoint</Application>
  <PresentationFormat>Widescreen</PresentationFormat>
  <Paragraphs>75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Open Sans</vt:lpstr>
      <vt:lpstr>Open Sans Light</vt:lpstr>
      <vt:lpstr>Open Sans SemiBold</vt:lpstr>
      <vt:lpstr>Office Theme</vt:lpstr>
      <vt:lpstr>think-cell Slide</vt:lpstr>
      <vt:lpstr>Analyzing Spotify Reviews with NLP</vt:lpstr>
      <vt:lpstr>Purpos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zing Spotify Reviews with NLP</dc:title>
  <dc:creator>Miller, Hope</dc:creator>
  <cp:lastModifiedBy>Miller, Hope</cp:lastModifiedBy>
  <cp:revision>4</cp:revision>
  <dcterms:created xsi:type="dcterms:W3CDTF">2023-01-05T21:49:44Z</dcterms:created>
  <dcterms:modified xsi:type="dcterms:W3CDTF">2023-01-12T16:1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05T21:49:44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efc01cb-5cd2-42e3-8a48-962f428718dc</vt:lpwstr>
  </property>
  <property fmtid="{D5CDD505-2E9C-101B-9397-08002B2CF9AE}" pid="8" name="MSIP_Label_ea60d57e-af5b-4752-ac57-3e4f28ca11dc_ContentBits">
    <vt:lpwstr>0</vt:lpwstr>
  </property>
</Properties>
</file>